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sldIdLst>
    <p:sldId id="267" r:id="rId2"/>
  </p:sldIdLst>
  <p:sldSz cx="10693400" cy="7556500"/>
  <p:notesSz cx="6858000" cy="9144000"/>
  <p:embeddedFontLst>
    <p:embeddedFont>
      <p:font typeface="Plus Jakarta Sans" pitchFamily="2" charset="0"/>
      <p:regular r:id="rId3"/>
      <p:bold r:id="rId4"/>
      <p:italic r:id="rId5"/>
      <p:boldItalic r:id="rId6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9D9D9"/>
    <a:srgbClr val="FFFFFF"/>
    <a:srgbClr val="4F81BD"/>
    <a:srgbClr val="EC959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 autoAdjust="0"/>
    <p:restoredTop sz="94622" autoAdjust="0"/>
  </p:normalViewPr>
  <p:slideViewPr>
    <p:cSldViewPr>
      <p:cViewPr>
        <p:scale>
          <a:sx n="50" d="100"/>
          <a:sy n="50" d="100"/>
        </p:scale>
        <p:origin x="2346" y="118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font" Target="fonts/font1.fntdata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4.fntdata"/><Relationship Id="rId5" Type="http://schemas.openxmlformats.org/officeDocument/2006/relationships/font" Target="fonts/font3.fntdata"/><Relationship Id="rId10" Type="http://schemas.openxmlformats.org/officeDocument/2006/relationships/tableStyles" Target="tableStyles.xml"/><Relationship Id="rId4" Type="http://schemas.openxmlformats.org/officeDocument/2006/relationships/font" Target="fonts/font2.fntdata"/><Relationship Id="rId9" Type="http://schemas.openxmlformats.org/officeDocument/2006/relationships/theme" Target="theme/theme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3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3/20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3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3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3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3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5/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4" Type="http://schemas.openxmlformats.org/officeDocument/2006/relationships/image" Target="../media/image2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" name="Group 33">
            <a:extLst>
              <a:ext uri="{FF2B5EF4-FFF2-40B4-BE49-F238E27FC236}">
                <a16:creationId xmlns:a16="http://schemas.microsoft.com/office/drawing/2014/main" id="{6E16822A-4508-BFF2-36F7-EE343FDBAAE9}"/>
              </a:ext>
            </a:extLst>
          </p:cNvPr>
          <p:cNvGrpSpPr/>
          <p:nvPr/>
        </p:nvGrpSpPr>
        <p:grpSpPr>
          <a:xfrm>
            <a:off x="316972" y="322858"/>
            <a:ext cx="10245347" cy="6920699"/>
            <a:chOff x="316972" y="322858"/>
            <a:chExt cx="10245347" cy="6920699"/>
          </a:xfrm>
        </p:grpSpPr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3D3A3976-3203-FF60-F12A-73DF7406292F}"/>
                </a:ext>
              </a:extLst>
            </p:cNvPr>
            <p:cNvGrpSpPr/>
            <p:nvPr/>
          </p:nvGrpSpPr>
          <p:grpSpPr>
            <a:xfrm>
              <a:off x="323849" y="841990"/>
              <a:ext cx="10050037" cy="6399391"/>
              <a:chOff x="323849" y="841990"/>
              <a:chExt cx="10050037" cy="6399391"/>
            </a:xfrm>
          </p:grpSpPr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6D9FAE70-321B-30F2-642B-F5EAB9334ED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3849" y="846752"/>
                <a:ext cx="10050037" cy="6389661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rgbClr val="D9D9D9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29" name="Group 28">
                <a:extLst>
                  <a:ext uri="{FF2B5EF4-FFF2-40B4-BE49-F238E27FC236}">
                    <a16:creationId xmlns:a16="http://schemas.microsoft.com/office/drawing/2014/main" id="{71799304-3DB5-4082-0EF1-7D8A2A90A858}"/>
                  </a:ext>
                </a:extLst>
              </p:cNvPr>
              <p:cNvGrpSpPr/>
              <p:nvPr/>
            </p:nvGrpSpPr>
            <p:grpSpPr>
              <a:xfrm>
                <a:off x="1235938" y="841990"/>
                <a:ext cx="8221527" cy="6399391"/>
                <a:chOff x="1235938" y="841990"/>
                <a:chExt cx="8221527" cy="6399391"/>
              </a:xfrm>
            </p:grpSpPr>
            <p:sp>
              <p:nvSpPr>
                <p:cNvPr id="4" name="AutoShape 4"/>
                <p:cNvSpPr/>
                <p:nvPr/>
              </p:nvSpPr>
              <p:spPr>
                <a:xfrm>
                  <a:off x="1235938" y="841990"/>
                  <a:ext cx="0" cy="6399391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5" name="AutoShape 5"/>
                <p:cNvSpPr/>
                <p:nvPr/>
              </p:nvSpPr>
              <p:spPr>
                <a:xfrm>
                  <a:off x="2149441" y="841990"/>
                  <a:ext cx="0" cy="6399391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6" name="AutoShape 6"/>
                <p:cNvSpPr/>
                <p:nvPr/>
              </p:nvSpPr>
              <p:spPr>
                <a:xfrm>
                  <a:off x="3062944" y="841990"/>
                  <a:ext cx="0" cy="6399391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7" name="AutoShape 7"/>
                <p:cNvSpPr/>
                <p:nvPr/>
              </p:nvSpPr>
              <p:spPr>
                <a:xfrm>
                  <a:off x="3976447" y="841990"/>
                  <a:ext cx="0" cy="6399391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8" name="AutoShape 8"/>
                <p:cNvSpPr/>
                <p:nvPr/>
              </p:nvSpPr>
              <p:spPr>
                <a:xfrm>
                  <a:off x="4889950" y="841990"/>
                  <a:ext cx="0" cy="6399391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9" name="AutoShape 9"/>
                <p:cNvSpPr/>
                <p:nvPr/>
              </p:nvSpPr>
              <p:spPr>
                <a:xfrm>
                  <a:off x="5803453" y="841990"/>
                  <a:ext cx="0" cy="6399391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0" name="AutoShape 10"/>
                <p:cNvSpPr/>
                <p:nvPr/>
              </p:nvSpPr>
              <p:spPr>
                <a:xfrm flipH="1">
                  <a:off x="6716956" y="841990"/>
                  <a:ext cx="0" cy="6399391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1" name="AutoShape 11"/>
                <p:cNvSpPr/>
                <p:nvPr/>
              </p:nvSpPr>
              <p:spPr>
                <a:xfrm flipH="1">
                  <a:off x="7630459" y="841990"/>
                  <a:ext cx="0" cy="6399391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2" name="AutoShape 12"/>
                <p:cNvSpPr/>
                <p:nvPr/>
              </p:nvSpPr>
              <p:spPr>
                <a:xfrm flipH="1">
                  <a:off x="8543962" y="841990"/>
                  <a:ext cx="0" cy="6399391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3" name="AutoShape 13"/>
                <p:cNvSpPr/>
                <p:nvPr/>
              </p:nvSpPr>
              <p:spPr>
                <a:xfrm flipH="1">
                  <a:off x="9457465" y="841990"/>
                  <a:ext cx="0" cy="6399391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grpSp>
            <p:nvGrpSpPr>
              <p:cNvPr id="30" name="Group 29">
                <a:extLst>
                  <a:ext uri="{FF2B5EF4-FFF2-40B4-BE49-F238E27FC236}">
                    <a16:creationId xmlns:a16="http://schemas.microsoft.com/office/drawing/2014/main" id="{3EBF8638-500C-4219-0443-37EC455FE0C8}"/>
                  </a:ext>
                </a:extLst>
              </p:cNvPr>
              <p:cNvGrpSpPr/>
              <p:nvPr/>
            </p:nvGrpSpPr>
            <p:grpSpPr>
              <a:xfrm>
                <a:off x="323849" y="1759561"/>
                <a:ext cx="10050037" cy="4564045"/>
                <a:chOff x="323849" y="1759561"/>
                <a:chExt cx="10050037" cy="4564045"/>
              </a:xfrm>
            </p:grpSpPr>
            <p:sp>
              <p:nvSpPr>
                <p:cNvPr id="16" name="AutoShape 16"/>
                <p:cNvSpPr/>
                <p:nvPr/>
              </p:nvSpPr>
              <p:spPr>
                <a:xfrm>
                  <a:off x="323849" y="1759561"/>
                  <a:ext cx="10050037" cy="0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7" name="AutoShape 17"/>
                <p:cNvSpPr/>
                <p:nvPr/>
              </p:nvSpPr>
              <p:spPr>
                <a:xfrm>
                  <a:off x="323849" y="2672370"/>
                  <a:ext cx="10050037" cy="0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8" name="AutoShape 18"/>
                <p:cNvSpPr/>
                <p:nvPr/>
              </p:nvSpPr>
              <p:spPr>
                <a:xfrm>
                  <a:off x="323849" y="3585179"/>
                  <a:ext cx="10050037" cy="0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9" name="AutoShape 19"/>
                <p:cNvSpPr/>
                <p:nvPr/>
              </p:nvSpPr>
              <p:spPr>
                <a:xfrm>
                  <a:off x="323849" y="4497988"/>
                  <a:ext cx="10050037" cy="0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0" name="AutoShape 20"/>
                <p:cNvSpPr/>
                <p:nvPr/>
              </p:nvSpPr>
              <p:spPr>
                <a:xfrm>
                  <a:off x="323849" y="5410797"/>
                  <a:ext cx="10050037" cy="0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1" name="AutoShape 21"/>
                <p:cNvSpPr/>
                <p:nvPr/>
              </p:nvSpPr>
              <p:spPr>
                <a:xfrm>
                  <a:off x="323849" y="6323606"/>
                  <a:ext cx="10050037" cy="0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</p:grp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EBB368B1-7057-07DD-4AC3-47CE73556F2F}"/>
                </a:ext>
              </a:extLst>
            </p:cNvPr>
            <p:cNvGrpSpPr/>
            <p:nvPr/>
          </p:nvGrpSpPr>
          <p:grpSpPr>
            <a:xfrm>
              <a:off x="316972" y="322858"/>
              <a:ext cx="9580498" cy="260777"/>
              <a:chOff x="316972" y="322858"/>
              <a:chExt cx="9580498" cy="260777"/>
            </a:xfrm>
          </p:grpSpPr>
          <p:sp>
            <p:nvSpPr>
              <p:cNvPr id="23" name="TextBox 23"/>
              <p:cNvSpPr txBox="1"/>
              <p:nvPr/>
            </p:nvSpPr>
            <p:spPr>
              <a:xfrm>
                <a:off x="316972" y="322858"/>
                <a:ext cx="2881809" cy="260777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l">
                  <a:lnSpc>
                    <a:spcPts val="2175"/>
                  </a:lnSpc>
                  <a:spcBef>
                    <a:spcPct val="0"/>
                  </a:spcBef>
                </a:pPr>
                <a:r>
                  <a:rPr lang="en-US" b="1" dirty="0">
                    <a:solidFill>
                      <a:srgbClr val="707070"/>
                    </a:solidFill>
                    <a:latin typeface="Plus Jakarta Sans" pitchFamily="2" charset="0"/>
                    <a:cs typeface="Plus Jakarta Sans" pitchFamily="2" charset="0"/>
                  </a:rPr>
                  <a:t>1 INCH GRAPH PAPER</a:t>
                </a:r>
              </a:p>
            </p:txBody>
          </p:sp>
          <p:sp>
            <p:nvSpPr>
              <p:cNvPr id="25" name="TextBox 25"/>
              <p:cNvSpPr txBox="1"/>
              <p:nvPr/>
            </p:nvSpPr>
            <p:spPr>
              <a:xfrm>
                <a:off x="8537947" y="434773"/>
                <a:ext cx="297646" cy="14254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l">
                  <a:lnSpc>
                    <a:spcPts val="1199"/>
                  </a:lnSpc>
                  <a:spcBef>
                    <a:spcPct val="0"/>
                  </a:spcBef>
                </a:pPr>
                <a:r>
                  <a:rPr lang="en-US" sz="999" b="1" dirty="0">
                    <a:solidFill>
                      <a:srgbClr val="707070"/>
                    </a:solidFill>
                    <a:latin typeface="Plus Jakarta Sans" pitchFamily="2" charset="0"/>
                    <a:cs typeface="Plus Jakarta Sans" pitchFamily="2" charset="0"/>
                  </a:rPr>
                  <a:t>Date</a:t>
                </a:r>
              </a:p>
            </p:txBody>
          </p:sp>
          <p:sp>
            <p:nvSpPr>
              <p:cNvPr id="26" name="TextBox 26"/>
              <p:cNvSpPr txBox="1"/>
              <p:nvPr/>
            </p:nvSpPr>
            <p:spPr>
              <a:xfrm>
                <a:off x="9302206" y="434773"/>
                <a:ext cx="64324" cy="14254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1199"/>
                  </a:lnSpc>
                  <a:spcBef>
                    <a:spcPct val="0"/>
                  </a:spcBef>
                </a:pPr>
                <a:r>
                  <a:rPr lang="en-US" sz="999" b="1">
                    <a:solidFill>
                      <a:srgbClr val="707070"/>
                    </a:solidFill>
                    <a:latin typeface="Plus Jakarta Sans" pitchFamily="2" charset="0"/>
                    <a:cs typeface="Plus Jakarta Sans" pitchFamily="2" charset="0"/>
                  </a:rPr>
                  <a:t>/</a:t>
                </a:r>
              </a:p>
            </p:txBody>
          </p:sp>
          <p:sp>
            <p:nvSpPr>
              <p:cNvPr id="27" name="TextBox 27"/>
              <p:cNvSpPr txBox="1"/>
              <p:nvPr/>
            </p:nvSpPr>
            <p:spPr>
              <a:xfrm>
                <a:off x="9833146" y="434773"/>
                <a:ext cx="64324" cy="14254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1199"/>
                  </a:lnSpc>
                  <a:spcBef>
                    <a:spcPct val="0"/>
                  </a:spcBef>
                </a:pPr>
                <a:r>
                  <a:rPr lang="en-US" sz="999" b="1" dirty="0">
                    <a:solidFill>
                      <a:srgbClr val="707070"/>
                    </a:solidFill>
                    <a:latin typeface="Plus Jakarta Sans" pitchFamily="2" charset="0"/>
                    <a:cs typeface="Plus Jakarta Sans" pitchFamily="2" charset="0"/>
                  </a:rPr>
                  <a:t>/</a:t>
                </a:r>
              </a:p>
            </p:txBody>
          </p:sp>
        </p:grpSp>
        <p:sp>
          <p:nvSpPr>
            <p:cNvPr id="2" name="TemplateLAB"/>
            <p:cNvSpPr/>
            <p:nvPr/>
          </p:nvSpPr>
          <p:spPr>
            <a:xfrm rot="16200000">
              <a:off x="10251572" y="6932809"/>
              <a:ext cx="533472" cy="88023"/>
            </a:xfrm>
            <a:custGeom>
              <a:avLst/>
              <a:gdLst/>
              <a:ahLst/>
              <a:cxnLst/>
              <a:rect l="l" t="t" r="r" b="b"/>
              <a:pathLst>
                <a:path w="533472" h="88023">
                  <a:moveTo>
                    <a:pt x="0" y="0"/>
                  </a:moveTo>
                  <a:lnTo>
                    <a:pt x="533471" y="0"/>
                  </a:lnTo>
                  <a:lnTo>
                    <a:pt x="533471" y="88023"/>
                  </a:lnTo>
                  <a:lnTo>
                    <a:pt x="0" y="88023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3">
                <a:alphaModFix amt="70000"/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a:blipFill>
            <a:ln cap="sq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8699000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8</TotalTime>
  <Words>7</Words>
  <Application>Microsoft Office PowerPoint</Application>
  <PresentationFormat>Custom</PresentationFormat>
  <Paragraphs>4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Plus Jakarta Sans</vt:lpstr>
      <vt:lpstr>Arial</vt:lpstr>
      <vt:lpstr>Calibri</vt:lpstr>
      <vt:lpstr>Office Them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ick of Graph Paper - A4 (Landscape)</dc:title>
  <dc:creator>Hoang Anh</dc:creator>
  <cp:lastModifiedBy>Hoang Anh</cp:lastModifiedBy>
  <cp:revision>19</cp:revision>
  <dcterms:created xsi:type="dcterms:W3CDTF">2006-08-16T00:00:00Z</dcterms:created>
  <dcterms:modified xsi:type="dcterms:W3CDTF">2024-05-03T14:05:12Z</dcterms:modified>
  <dc:identifier>DAGEF-RblzQ</dc:identifier>
</cp:coreProperties>
</file>